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C540D9-31DA-AF12-E0D3-47C6CCA57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E3E6B2-E5FA-A3BF-8E66-DC88F01984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E3E6B2-E5FA-A3BF-8E66-DC88F01984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854617-D9E4-63F0-F866-4E9196F01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305202-5074-427F-CB23-2DF317D41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 Factors</a:t>
            </a:r>
          </a:p>
        </p:txBody>
      </p:sp>
      <p:sp>
        <p:nvSpPr>
          <p:cNvPr id="2" name="Oval 66">
            <a:extLst>
              <a:ext uri="{FF2B5EF4-FFF2-40B4-BE49-F238E27FC236}">
                <a16:creationId xmlns:a16="http://schemas.microsoft.com/office/drawing/2014/main" id="{4B576081-1095-62D8-E953-F59965757466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4378346" y="1378651"/>
            <a:ext cx="3487579" cy="34847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 67">
            <a:extLst>
              <a:ext uri="{FF2B5EF4-FFF2-40B4-BE49-F238E27FC236}">
                <a16:creationId xmlns:a16="http://schemas.microsoft.com/office/drawing/2014/main" id="{FF18EB0F-07EC-9149-3C80-3A3C8F43F87E}"/>
              </a:ext>
            </a:extLst>
          </p:cNvPr>
          <p:cNvSpPr>
            <a:spLocks/>
          </p:cNvSpPr>
          <p:nvPr/>
        </p:nvSpPr>
        <p:spPr bwMode="auto">
          <a:xfrm flipH="1" flipV="1">
            <a:off x="7796570" y="2897389"/>
            <a:ext cx="292991" cy="709122"/>
          </a:xfrm>
          <a:custGeom>
            <a:avLst/>
            <a:gdLst>
              <a:gd name="T0" fmla="*/ 46 w 46"/>
              <a:gd name="T1" fmla="*/ 0 h 111"/>
              <a:gd name="T2" fmla="*/ 42 w 46"/>
              <a:gd name="T3" fmla="*/ 2 h 111"/>
              <a:gd name="T4" fmla="*/ 18 w 46"/>
              <a:gd name="T5" fmla="*/ 90 h 111"/>
              <a:gd name="T6" fmla="*/ 38 w 46"/>
              <a:gd name="T7" fmla="*/ 111 h 111"/>
              <a:gd name="T8" fmla="*/ 46 w 46"/>
              <a:gd name="T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46" y="0"/>
                </a:moveTo>
                <a:cubicBezTo>
                  <a:pt x="45" y="0"/>
                  <a:pt x="43" y="1"/>
                  <a:pt x="42" y="2"/>
                </a:cubicBezTo>
                <a:cubicBezTo>
                  <a:pt x="11" y="20"/>
                  <a:pt x="0" y="59"/>
                  <a:pt x="18" y="90"/>
                </a:cubicBezTo>
                <a:cubicBezTo>
                  <a:pt x="23" y="99"/>
                  <a:pt x="30" y="106"/>
                  <a:pt x="38" y="111"/>
                </a:cubicBezTo>
                <a:cubicBezTo>
                  <a:pt x="33" y="73"/>
                  <a:pt x="36" y="35"/>
                  <a:pt x="46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28" name="Freeform 68">
            <a:extLst>
              <a:ext uri="{FF2B5EF4-FFF2-40B4-BE49-F238E27FC236}">
                <a16:creationId xmlns:a16="http://schemas.microsoft.com/office/drawing/2014/main" id="{D0543CF7-2C2E-FDEB-59B6-28FF236FEFE3}"/>
              </a:ext>
            </a:extLst>
          </p:cNvPr>
          <p:cNvSpPr>
            <a:spLocks/>
          </p:cNvSpPr>
          <p:nvPr/>
        </p:nvSpPr>
        <p:spPr bwMode="auto">
          <a:xfrm flipH="1" flipV="1">
            <a:off x="6539683" y="1302219"/>
            <a:ext cx="638352" cy="433116"/>
          </a:xfrm>
          <a:custGeom>
            <a:avLst/>
            <a:gdLst>
              <a:gd name="T0" fmla="*/ 0 w 100"/>
              <a:gd name="T1" fmla="*/ 0 h 68"/>
              <a:gd name="T2" fmla="*/ 8 w 100"/>
              <a:gd name="T3" fmla="*/ 27 h 68"/>
              <a:gd name="T4" fmla="*/ 96 w 100"/>
              <a:gd name="T5" fmla="*/ 51 h 68"/>
              <a:gd name="T6" fmla="*/ 100 w 100"/>
              <a:gd name="T7" fmla="*/ 48 h 68"/>
              <a:gd name="T8" fmla="*/ 0 w 100"/>
              <a:gd name="T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0"/>
                </a:moveTo>
                <a:cubicBezTo>
                  <a:pt x="0" y="9"/>
                  <a:pt x="3" y="18"/>
                  <a:pt x="8" y="27"/>
                </a:cubicBezTo>
                <a:cubicBezTo>
                  <a:pt x="26" y="58"/>
                  <a:pt x="65" y="68"/>
                  <a:pt x="96" y="51"/>
                </a:cubicBezTo>
                <a:cubicBezTo>
                  <a:pt x="97" y="50"/>
                  <a:pt x="100" y="48"/>
                  <a:pt x="100" y="48"/>
                </a:cubicBezTo>
                <a:cubicBezTo>
                  <a:pt x="64" y="39"/>
                  <a:pt x="30" y="23"/>
                  <a:pt x="0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29" name="Freeform 69">
            <a:extLst>
              <a:ext uri="{FF2B5EF4-FFF2-40B4-BE49-F238E27FC236}">
                <a16:creationId xmlns:a16="http://schemas.microsoft.com/office/drawing/2014/main" id="{E1BDFC29-94A1-78AF-F14B-86A0FF0A61F9}"/>
              </a:ext>
            </a:extLst>
          </p:cNvPr>
          <p:cNvSpPr>
            <a:spLocks/>
          </p:cNvSpPr>
          <p:nvPr/>
        </p:nvSpPr>
        <p:spPr bwMode="auto">
          <a:xfrm flipH="1" flipV="1">
            <a:off x="6692547" y="1411206"/>
            <a:ext cx="1358797" cy="1824467"/>
          </a:xfrm>
          <a:custGeom>
            <a:avLst/>
            <a:gdLst>
              <a:gd name="T0" fmla="*/ 43 w 213"/>
              <a:gd name="T1" fmla="*/ 167 h 286"/>
              <a:gd name="T2" fmla="*/ 168 w 213"/>
              <a:gd name="T3" fmla="*/ 286 h 286"/>
              <a:gd name="T4" fmla="*/ 146 w 213"/>
              <a:gd name="T5" fmla="*/ 263 h 286"/>
              <a:gd name="T6" fmla="*/ 145 w 213"/>
              <a:gd name="T7" fmla="*/ 262 h 286"/>
              <a:gd name="T8" fmla="*/ 137 w 213"/>
              <a:gd name="T9" fmla="*/ 234 h 286"/>
              <a:gd name="T10" fmla="*/ 169 w 213"/>
              <a:gd name="T11" fmla="*/ 174 h 286"/>
              <a:gd name="T12" fmla="*/ 194 w 213"/>
              <a:gd name="T13" fmla="*/ 80 h 286"/>
              <a:gd name="T14" fmla="*/ 100 w 213"/>
              <a:gd name="T15" fmla="*/ 55 h 286"/>
              <a:gd name="T16" fmla="*/ 32 w 213"/>
              <a:gd name="T17" fmla="*/ 53 h 286"/>
              <a:gd name="T18" fmla="*/ 12 w 213"/>
              <a:gd name="T19" fmla="*/ 32 h 286"/>
              <a:gd name="T20" fmla="*/ 11 w 213"/>
              <a:gd name="T21" fmla="*/ 31 h 286"/>
              <a:gd name="T22" fmla="*/ 3 w 213"/>
              <a:gd name="T23" fmla="*/ 0 h 286"/>
              <a:gd name="T24" fmla="*/ 43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43" y="167"/>
                </a:moveTo>
                <a:cubicBezTo>
                  <a:pt x="74" y="220"/>
                  <a:pt x="118" y="260"/>
                  <a:pt x="168" y="286"/>
                </a:cubicBezTo>
                <a:cubicBezTo>
                  <a:pt x="159" y="280"/>
                  <a:pt x="152" y="273"/>
                  <a:pt x="146" y="263"/>
                </a:cubicBezTo>
                <a:cubicBezTo>
                  <a:pt x="145" y="263"/>
                  <a:pt x="145" y="262"/>
                  <a:pt x="145" y="262"/>
                </a:cubicBezTo>
                <a:cubicBezTo>
                  <a:pt x="140" y="253"/>
                  <a:pt x="137" y="244"/>
                  <a:pt x="137" y="234"/>
                </a:cubicBezTo>
                <a:cubicBezTo>
                  <a:pt x="135" y="211"/>
                  <a:pt x="147" y="187"/>
                  <a:pt x="169" y="174"/>
                </a:cubicBezTo>
                <a:cubicBezTo>
                  <a:pt x="201" y="155"/>
                  <a:pt x="213" y="113"/>
                  <a:pt x="194" y="80"/>
                </a:cubicBezTo>
                <a:cubicBezTo>
                  <a:pt x="175" y="48"/>
                  <a:pt x="133" y="36"/>
                  <a:pt x="100" y="55"/>
                </a:cubicBezTo>
                <a:cubicBezTo>
                  <a:pt x="78" y="68"/>
                  <a:pt x="52" y="66"/>
                  <a:pt x="32" y="53"/>
                </a:cubicBezTo>
                <a:cubicBezTo>
                  <a:pt x="24" y="48"/>
                  <a:pt x="17" y="41"/>
                  <a:pt x="12" y="32"/>
                </a:cubicBezTo>
                <a:cubicBezTo>
                  <a:pt x="12" y="31"/>
                  <a:pt x="12" y="31"/>
                  <a:pt x="11" y="31"/>
                </a:cubicBezTo>
                <a:cubicBezTo>
                  <a:pt x="6" y="21"/>
                  <a:pt x="3" y="10"/>
                  <a:pt x="3" y="0"/>
                </a:cubicBezTo>
                <a:cubicBezTo>
                  <a:pt x="0" y="56"/>
                  <a:pt x="13" y="115"/>
                  <a:pt x="43" y="1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0" name="Freeform 70">
            <a:extLst>
              <a:ext uri="{FF2B5EF4-FFF2-40B4-BE49-F238E27FC236}">
                <a16:creationId xmlns:a16="http://schemas.microsoft.com/office/drawing/2014/main" id="{29CAEB56-0127-CBAD-CD41-26B23B50F80C}"/>
              </a:ext>
            </a:extLst>
          </p:cNvPr>
          <p:cNvSpPr>
            <a:spLocks/>
          </p:cNvSpPr>
          <p:nvPr/>
        </p:nvSpPr>
        <p:spPr bwMode="auto">
          <a:xfrm flipH="1" flipV="1">
            <a:off x="5067653" y="1302219"/>
            <a:ext cx="636936" cy="433116"/>
          </a:xfrm>
          <a:custGeom>
            <a:avLst/>
            <a:gdLst>
              <a:gd name="T0" fmla="*/ 0 w 100"/>
              <a:gd name="T1" fmla="*/ 48 h 68"/>
              <a:gd name="T2" fmla="*/ 4 w 100"/>
              <a:gd name="T3" fmla="*/ 51 h 68"/>
              <a:gd name="T4" fmla="*/ 92 w 100"/>
              <a:gd name="T5" fmla="*/ 27 h 68"/>
              <a:gd name="T6" fmla="*/ 100 w 100"/>
              <a:gd name="T7" fmla="*/ 0 h 68"/>
              <a:gd name="T8" fmla="*/ 0 w 100"/>
              <a:gd name="T9" fmla="*/ 4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68">
                <a:moveTo>
                  <a:pt x="0" y="48"/>
                </a:moveTo>
                <a:cubicBezTo>
                  <a:pt x="1" y="48"/>
                  <a:pt x="3" y="50"/>
                  <a:pt x="4" y="51"/>
                </a:cubicBezTo>
                <a:cubicBezTo>
                  <a:pt x="35" y="68"/>
                  <a:pt x="74" y="58"/>
                  <a:pt x="92" y="27"/>
                </a:cubicBezTo>
                <a:cubicBezTo>
                  <a:pt x="97" y="18"/>
                  <a:pt x="100" y="9"/>
                  <a:pt x="100" y="0"/>
                </a:cubicBezTo>
                <a:cubicBezTo>
                  <a:pt x="70" y="23"/>
                  <a:pt x="36" y="39"/>
                  <a:pt x="0" y="48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1" name="Freeform 71">
            <a:extLst>
              <a:ext uri="{FF2B5EF4-FFF2-40B4-BE49-F238E27FC236}">
                <a16:creationId xmlns:a16="http://schemas.microsoft.com/office/drawing/2014/main" id="{991EF279-3DA8-788E-D44C-78ADEED659B0}"/>
              </a:ext>
            </a:extLst>
          </p:cNvPr>
          <p:cNvSpPr>
            <a:spLocks/>
          </p:cNvSpPr>
          <p:nvPr/>
        </p:nvSpPr>
        <p:spPr bwMode="auto">
          <a:xfrm flipH="1" flipV="1">
            <a:off x="4192927" y="1411206"/>
            <a:ext cx="1358797" cy="1824467"/>
          </a:xfrm>
          <a:custGeom>
            <a:avLst/>
            <a:gdLst>
              <a:gd name="T0" fmla="*/ 170 w 213"/>
              <a:gd name="T1" fmla="*/ 167 h 286"/>
              <a:gd name="T2" fmla="*/ 210 w 213"/>
              <a:gd name="T3" fmla="*/ 0 h 286"/>
              <a:gd name="T4" fmla="*/ 202 w 213"/>
              <a:gd name="T5" fmla="*/ 31 h 286"/>
              <a:gd name="T6" fmla="*/ 201 w 213"/>
              <a:gd name="T7" fmla="*/ 32 h 286"/>
              <a:gd name="T8" fmla="*/ 181 w 213"/>
              <a:gd name="T9" fmla="*/ 53 h 286"/>
              <a:gd name="T10" fmla="*/ 113 w 213"/>
              <a:gd name="T11" fmla="*/ 55 h 286"/>
              <a:gd name="T12" fmla="*/ 19 w 213"/>
              <a:gd name="T13" fmla="*/ 80 h 286"/>
              <a:gd name="T14" fmla="*/ 44 w 213"/>
              <a:gd name="T15" fmla="*/ 174 h 286"/>
              <a:gd name="T16" fmla="*/ 76 w 213"/>
              <a:gd name="T17" fmla="*/ 234 h 286"/>
              <a:gd name="T18" fmla="*/ 68 w 213"/>
              <a:gd name="T19" fmla="*/ 262 h 286"/>
              <a:gd name="T20" fmla="*/ 67 w 213"/>
              <a:gd name="T21" fmla="*/ 263 h 286"/>
              <a:gd name="T22" fmla="*/ 45 w 213"/>
              <a:gd name="T23" fmla="*/ 286 h 286"/>
              <a:gd name="T24" fmla="*/ 170 w 213"/>
              <a:gd name="T25" fmla="*/ 167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286">
                <a:moveTo>
                  <a:pt x="170" y="167"/>
                </a:moveTo>
                <a:cubicBezTo>
                  <a:pt x="200" y="115"/>
                  <a:pt x="213" y="56"/>
                  <a:pt x="210" y="0"/>
                </a:cubicBezTo>
                <a:cubicBezTo>
                  <a:pt x="210" y="10"/>
                  <a:pt x="207" y="21"/>
                  <a:pt x="202" y="31"/>
                </a:cubicBezTo>
                <a:cubicBezTo>
                  <a:pt x="201" y="31"/>
                  <a:pt x="201" y="31"/>
                  <a:pt x="201" y="32"/>
                </a:cubicBezTo>
                <a:cubicBezTo>
                  <a:pt x="196" y="41"/>
                  <a:pt x="189" y="48"/>
                  <a:pt x="181" y="53"/>
                </a:cubicBezTo>
                <a:cubicBezTo>
                  <a:pt x="161" y="66"/>
                  <a:pt x="135" y="68"/>
                  <a:pt x="113" y="55"/>
                </a:cubicBezTo>
                <a:cubicBezTo>
                  <a:pt x="80" y="36"/>
                  <a:pt x="38" y="48"/>
                  <a:pt x="19" y="80"/>
                </a:cubicBezTo>
                <a:cubicBezTo>
                  <a:pt x="0" y="113"/>
                  <a:pt x="12" y="155"/>
                  <a:pt x="44" y="174"/>
                </a:cubicBezTo>
                <a:cubicBezTo>
                  <a:pt x="66" y="187"/>
                  <a:pt x="78" y="211"/>
                  <a:pt x="76" y="234"/>
                </a:cubicBezTo>
                <a:cubicBezTo>
                  <a:pt x="76" y="244"/>
                  <a:pt x="73" y="253"/>
                  <a:pt x="68" y="262"/>
                </a:cubicBezTo>
                <a:cubicBezTo>
                  <a:pt x="68" y="262"/>
                  <a:pt x="68" y="263"/>
                  <a:pt x="67" y="263"/>
                </a:cubicBezTo>
                <a:cubicBezTo>
                  <a:pt x="61" y="273"/>
                  <a:pt x="54" y="280"/>
                  <a:pt x="45" y="286"/>
                </a:cubicBezTo>
                <a:cubicBezTo>
                  <a:pt x="95" y="260"/>
                  <a:pt x="139" y="220"/>
                  <a:pt x="170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2" name="Freeform 72">
            <a:extLst>
              <a:ext uri="{FF2B5EF4-FFF2-40B4-BE49-F238E27FC236}">
                <a16:creationId xmlns:a16="http://schemas.microsoft.com/office/drawing/2014/main" id="{C5156016-E402-42F2-4C47-728EE5C708C5}"/>
              </a:ext>
            </a:extLst>
          </p:cNvPr>
          <p:cNvSpPr>
            <a:spLocks/>
          </p:cNvSpPr>
          <p:nvPr/>
        </p:nvSpPr>
        <p:spPr bwMode="auto">
          <a:xfrm flipH="1" flipV="1">
            <a:off x="4154711" y="2897389"/>
            <a:ext cx="294406" cy="709122"/>
          </a:xfrm>
          <a:custGeom>
            <a:avLst/>
            <a:gdLst>
              <a:gd name="T0" fmla="*/ 8 w 46"/>
              <a:gd name="T1" fmla="*/ 111 h 111"/>
              <a:gd name="T2" fmla="*/ 28 w 46"/>
              <a:gd name="T3" fmla="*/ 90 h 111"/>
              <a:gd name="T4" fmla="*/ 4 w 46"/>
              <a:gd name="T5" fmla="*/ 2 h 111"/>
              <a:gd name="T6" fmla="*/ 0 w 46"/>
              <a:gd name="T7" fmla="*/ 0 h 111"/>
              <a:gd name="T8" fmla="*/ 8 w 46"/>
              <a:gd name="T9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111">
                <a:moveTo>
                  <a:pt x="8" y="111"/>
                </a:moveTo>
                <a:cubicBezTo>
                  <a:pt x="16" y="106"/>
                  <a:pt x="23" y="99"/>
                  <a:pt x="28" y="90"/>
                </a:cubicBezTo>
                <a:cubicBezTo>
                  <a:pt x="46" y="59"/>
                  <a:pt x="35" y="20"/>
                  <a:pt x="4" y="2"/>
                </a:cubicBezTo>
                <a:cubicBezTo>
                  <a:pt x="3" y="1"/>
                  <a:pt x="1" y="0"/>
                  <a:pt x="0" y="0"/>
                </a:cubicBezTo>
                <a:cubicBezTo>
                  <a:pt x="10" y="35"/>
                  <a:pt x="13" y="73"/>
                  <a:pt x="8" y="111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3" name="Freeform 73">
            <a:extLst>
              <a:ext uri="{FF2B5EF4-FFF2-40B4-BE49-F238E27FC236}">
                <a16:creationId xmlns:a16="http://schemas.microsoft.com/office/drawing/2014/main" id="{FB04D253-293D-A147-1744-1460DFA010D0}"/>
              </a:ext>
            </a:extLst>
          </p:cNvPr>
          <p:cNvSpPr>
            <a:spLocks/>
          </p:cNvSpPr>
          <p:nvPr/>
        </p:nvSpPr>
        <p:spPr bwMode="auto">
          <a:xfrm flipH="1" flipV="1">
            <a:off x="4862418" y="4326955"/>
            <a:ext cx="593058" cy="447271"/>
          </a:xfrm>
          <a:custGeom>
            <a:avLst/>
            <a:gdLst>
              <a:gd name="T0" fmla="*/ 93 w 93"/>
              <a:gd name="T1" fmla="*/ 70 h 70"/>
              <a:gd name="T2" fmla="*/ 93 w 93"/>
              <a:gd name="T3" fmla="*/ 64 h 70"/>
              <a:gd name="T4" fmla="*/ 28 w 93"/>
              <a:gd name="T5" fmla="*/ 0 h 70"/>
              <a:gd name="T6" fmla="*/ 0 w 93"/>
              <a:gd name="T7" fmla="*/ 6 h 70"/>
              <a:gd name="T8" fmla="*/ 93 w 93"/>
              <a:gd name="T9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70">
                <a:moveTo>
                  <a:pt x="93" y="70"/>
                </a:moveTo>
                <a:cubicBezTo>
                  <a:pt x="93" y="69"/>
                  <a:pt x="93" y="66"/>
                  <a:pt x="93" y="64"/>
                </a:cubicBezTo>
                <a:cubicBezTo>
                  <a:pt x="93" y="29"/>
                  <a:pt x="64" y="0"/>
                  <a:pt x="28" y="0"/>
                </a:cubicBezTo>
                <a:cubicBezTo>
                  <a:pt x="18" y="0"/>
                  <a:pt x="9" y="2"/>
                  <a:pt x="0" y="6"/>
                </a:cubicBezTo>
                <a:cubicBezTo>
                  <a:pt x="35" y="21"/>
                  <a:pt x="67" y="43"/>
                  <a:pt x="93" y="7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4" name="Freeform 74">
            <a:extLst>
              <a:ext uri="{FF2B5EF4-FFF2-40B4-BE49-F238E27FC236}">
                <a16:creationId xmlns:a16="http://schemas.microsoft.com/office/drawing/2014/main" id="{3C4CFB77-0906-2A55-E5B4-16861DE4DA7C}"/>
              </a:ext>
            </a:extLst>
          </p:cNvPr>
          <p:cNvSpPr>
            <a:spLocks/>
          </p:cNvSpPr>
          <p:nvPr/>
        </p:nvSpPr>
        <p:spPr bwMode="auto">
          <a:xfrm flipH="1" flipV="1">
            <a:off x="6788796" y="4326955"/>
            <a:ext cx="593058" cy="447271"/>
          </a:xfrm>
          <a:custGeom>
            <a:avLst/>
            <a:gdLst>
              <a:gd name="T0" fmla="*/ 93 w 93"/>
              <a:gd name="T1" fmla="*/ 6 h 70"/>
              <a:gd name="T2" fmla="*/ 65 w 93"/>
              <a:gd name="T3" fmla="*/ 0 h 70"/>
              <a:gd name="T4" fmla="*/ 0 w 93"/>
              <a:gd name="T5" fmla="*/ 64 h 70"/>
              <a:gd name="T6" fmla="*/ 0 w 93"/>
              <a:gd name="T7" fmla="*/ 70 h 70"/>
              <a:gd name="T8" fmla="*/ 93 w 93"/>
              <a:gd name="T9" fmla="*/ 6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70">
                <a:moveTo>
                  <a:pt x="93" y="6"/>
                </a:moveTo>
                <a:cubicBezTo>
                  <a:pt x="84" y="2"/>
                  <a:pt x="75" y="0"/>
                  <a:pt x="65" y="0"/>
                </a:cubicBezTo>
                <a:cubicBezTo>
                  <a:pt x="29" y="0"/>
                  <a:pt x="0" y="29"/>
                  <a:pt x="0" y="64"/>
                </a:cubicBezTo>
                <a:cubicBezTo>
                  <a:pt x="0" y="66"/>
                  <a:pt x="0" y="69"/>
                  <a:pt x="0" y="70"/>
                </a:cubicBezTo>
                <a:cubicBezTo>
                  <a:pt x="26" y="43"/>
                  <a:pt x="58" y="21"/>
                  <a:pt x="93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5" name="Freeform 75">
            <a:extLst>
              <a:ext uri="{FF2B5EF4-FFF2-40B4-BE49-F238E27FC236}">
                <a16:creationId xmlns:a16="http://schemas.microsoft.com/office/drawing/2014/main" id="{42D021CC-5E64-7011-5852-E48971F4D33B}"/>
              </a:ext>
            </a:extLst>
          </p:cNvPr>
          <p:cNvSpPr>
            <a:spLocks/>
          </p:cNvSpPr>
          <p:nvPr/>
        </p:nvSpPr>
        <p:spPr bwMode="auto">
          <a:xfrm flipH="1" flipV="1">
            <a:off x="5067653" y="3924978"/>
            <a:ext cx="2110381" cy="1109683"/>
          </a:xfrm>
          <a:custGeom>
            <a:avLst/>
            <a:gdLst>
              <a:gd name="T0" fmla="*/ 166 w 331"/>
              <a:gd name="T1" fmla="*/ 0 h 174"/>
              <a:gd name="T2" fmla="*/ 0 w 331"/>
              <a:gd name="T3" fmla="*/ 50 h 174"/>
              <a:gd name="T4" fmla="*/ 31 w 331"/>
              <a:gd name="T5" fmla="*/ 41 h 174"/>
              <a:gd name="T6" fmla="*/ 33 w 331"/>
              <a:gd name="T7" fmla="*/ 41 h 174"/>
              <a:gd name="T8" fmla="*/ 61 w 331"/>
              <a:gd name="T9" fmla="*/ 48 h 174"/>
              <a:gd name="T10" fmla="*/ 97 w 331"/>
              <a:gd name="T11" fmla="*/ 105 h 174"/>
              <a:gd name="T12" fmla="*/ 166 w 331"/>
              <a:gd name="T13" fmla="*/ 174 h 174"/>
              <a:gd name="T14" fmla="*/ 234 w 331"/>
              <a:gd name="T15" fmla="*/ 105 h 174"/>
              <a:gd name="T16" fmla="*/ 270 w 331"/>
              <a:gd name="T17" fmla="*/ 48 h 174"/>
              <a:gd name="T18" fmla="*/ 298 w 331"/>
              <a:gd name="T19" fmla="*/ 41 h 174"/>
              <a:gd name="T20" fmla="*/ 300 w 331"/>
              <a:gd name="T21" fmla="*/ 41 h 174"/>
              <a:gd name="T22" fmla="*/ 331 w 331"/>
              <a:gd name="T23" fmla="*/ 50 h 174"/>
              <a:gd name="T24" fmla="*/ 166 w 331"/>
              <a:gd name="T25" fmla="*/ 0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1" h="174">
                <a:moveTo>
                  <a:pt x="166" y="0"/>
                </a:moveTo>
                <a:cubicBezTo>
                  <a:pt x="105" y="0"/>
                  <a:pt x="48" y="18"/>
                  <a:pt x="0" y="50"/>
                </a:cubicBezTo>
                <a:cubicBezTo>
                  <a:pt x="10" y="44"/>
                  <a:pt x="20" y="41"/>
                  <a:pt x="31" y="41"/>
                </a:cubicBezTo>
                <a:cubicBezTo>
                  <a:pt x="32" y="41"/>
                  <a:pt x="32" y="41"/>
                  <a:pt x="33" y="41"/>
                </a:cubicBezTo>
                <a:cubicBezTo>
                  <a:pt x="43" y="41"/>
                  <a:pt x="52" y="43"/>
                  <a:pt x="61" y="48"/>
                </a:cubicBezTo>
                <a:cubicBezTo>
                  <a:pt x="82" y="58"/>
                  <a:pt x="97" y="80"/>
                  <a:pt x="97" y="105"/>
                </a:cubicBezTo>
                <a:cubicBezTo>
                  <a:pt x="97" y="143"/>
                  <a:pt x="128" y="174"/>
                  <a:pt x="166" y="174"/>
                </a:cubicBezTo>
                <a:cubicBezTo>
                  <a:pt x="203" y="174"/>
                  <a:pt x="234" y="143"/>
                  <a:pt x="234" y="105"/>
                </a:cubicBezTo>
                <a:cubicBezTo>
                  <a:pt x="234" y="80"/>
                  <a:pt x="249" y="58"/>
                  <a:pt x="270" y="48"/>
                </a:cubicBezTo>
                <a:cubicBezTo>
                  <a:pt x="279" y="43"/>
                  <a:pt x="288" y="41"/>
                  <a:pt x="298" y="41"/>
                </a:cubicBezTo>
                <a:cubicBezTo>
                  <a:pt x="299" y="41"/>
                  <a:pt x="299" y="41"/>
                  <a:pt x="300" y="41"/>
                </a:cubicBezTo>
                <a:cubicBezTo>
                  <a:pt x="311" y="41"/>
                  <a:pt x="321" y="44"/>
                  <a:pt x="331" y="50"/>
                </a:cubicBezTo>
                <a:cubicBezTo>
                  <a:pt x="283" y="18"/>
                  <a:pt x="227" y="0"/>
                  <a:pt x="166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</a:bodyPr>
          <a:lstStyle/>
          <a:p>
            <a:endParaRPr lang="en-US" sz="704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ACFF71D9-F760-66EF-4508-C8305B67EB88}"/>
              </a:ext>
            </a:extLst>
          </p:cNvPr>
          <p:cNvSpPr txBox="1">
            <a:spLocks/>
          </p:cNvSpPr>
          <p:nvPr/>
        </p:nvSpPr>
        <p:spPr>
          <a:xfrm flipH="1">
            <a:off x="5211753" y="3224293"/>
            <a:ext cx="1877768" cy="4247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b="1" dirty="0">
                <a:latin typeface="Open Sans ExtraBold" charset="0"/>
                <a:ea typeface="Open Sans ExtraBold" charset="0"/>
                <a:cs typeface="Open Sans ExtraBold" charset="0"/>
              </a:rPr>
              <a:t>INSERT</a:t>
            </a:r>
            <a:r>
              <a:rPr lang="en-IN" sz="2000" b="1" dirty="0"/>
              <a:t> </a:t>
            </a:r>
            <a:r>
              <a:rPr lang="en-IN" sz="2400" dirty="0">
                <a:latin typeface="+mn-lt"/>
              </a:rPr>
              <a:t>TITL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94D6B55-5107-44D8-063A-2E55D8DFCDDA}"/>
              </a:ext>
            </a:extLst>
          </p:cNvPr>
          <p:cNvGrpSpPr/>
          <p:nvPr/>
        </p:nvGrpSpPr>
        <p:grpSpPr>
          <a:xfrm>
            <a:off x="6989970" y="2346986"/>
            <a:ext cx="509685" cy="343705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341854FE-C9CB-A11D-4768-A0D93F1485C0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D848A3F9-991F-CAFB-499C-2DD3BB5D680D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3AA5EF5C-6285-D801-EF09-F9C08047D711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47E6C62-1FD8-36A1-CE4B-497DF59A6A83}"/>
              </a:ext>
            </a:extLst>
          </p:cNvPr>
          <p:cNvGrpSpPr>
            <a:grpSpLocks noChangeAspect="1"/>
          </p:cNvGrpSpPr>
          <p:nvPr/>
        </p:nvGrpSpPr>
        <p:grpSpPr>
          <a:xfrm>
            <a:off x="4899914" y="2285991"/>
            <a:ext cx="335477" cy="535405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2E3EF5FC-14FA-FEE7-8E84-4483C82D7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9695A45B-3144-8158-3346-00BF833C5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44" name="Freeform 23">
            <a:extLst>
              <a:ext uri="{FF2B5EF4-FFF2-40B4-BE49-F238E27FC236}">
                <a16:creationId xmlns:a16="http://schemas.microsoft.com/office/drawing/2014/main" id="{764A3288-5237-D54B-4F47-31CA6642E29B}"/>
              </a:ext>
            </a:extLst>
          </p:cNvPr>
          <p:cNvSpPr>
            <a:spLocks noEditPoints="1"/>
          </p:cNvSpPr>
          <p:nvPr/>
        </p:nvSpPr>
        <p:spPr bwMode="auto">
          <a:xfrm>
            <a:off x="5841910" y="2388042"/>
            <a:ext cx="697773" cy="617945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2599605-2CF6-1CEF-9DF9-1D2842794BA9}"/>
              </a:ext>
            </a:extLst>
          </p:cNvPr>
          <p:cNvGrpSpPr>
            <a:grpSpLocks noChangeAspect="1"/>
          </p:cNvGrpSpPr>
          <p:nvPr/>
        </p:nvGrpSpPr>
        <p:grpSpPr>
          <a:xfrm>
            <a:off x="5910429" y="4178671"/>
            <a:ext cx="417855" cy="397739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46" name="Freeform 26">
              <a:extLst>
                <a:ext uri="{FF2B5EF4-FFF2-40B4-BE49-F238E27FC236}">
                  <a16:creationId xmlns:a16="http://schemas.microsoft.com/office/drawing/2014/main" id="{AE2A9737-1780-51F4-7109-D65174A8B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98474DA7-5358-F643-517C-B5DFFDBCB4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BB0F11AB-F2AB-3A7C-665D-DC38FE589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49" name="Freeform 29">
              <a:extLst>
                <a:ext uri="{FF2B5EF4-FFF2-40B4-BE49-F238E27FC236}">
                  <a16:creationId xmlns:a16="http://schemas.microsoft.com/office/drawing/2014/main" id="{11CCDED4-53D9-0F39-FFFE-D2BC81B33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id="{7A4190F9-DF33-81AC-395D-B84A4CD1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85BD5D86-159B-5A49-47D5-3589A55BE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52" name="Shape1_20180321_204814">
            <a:extLst>
              <a:ext uri="{FF2B5EF4-FFF2-40B4-BE49-F238E27FC236}">
                <a16:creationId xmlns:a16="http://schemas.microsoft.com/office/drawing/2014/main" id="{EB84C104-379D-E14A-3CC9-51D99AF82A65}"/>
              </a:ext>
            </a:extLst>
          </p:cNvPr>
          <p:cNvSpPr txBox="1">
            <a:spLocks/>
          </p:cNvSpPr>
          <p:nvPr/>
        </p:nvSpPr>
        <p:spPr>
          <a:xfrm>
            <a:off x="8217984" y="1686599"/>
            <a:ext cx="2870930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2000" b="1" dirty="0">
                <a:solidFill>
                  <a:schemeClr val="tx1"/>
                </a:solidFill>
                <a:latin typeface="+mj-lt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53" name="Shape1_20180321_204814">
            <a:extLst>
              <a:ext uri="{FF2B5EF4-FFF2-40B4-BE49-F238E27FC236}">
                <a16:creationId xmlns:a16="http://schemas.microsoft.com/office/drawing/2014/main" id="{4131E7B9-02E2-C279-3BC6-C4330C259584}"/>
              </a:ext>
            </a:extLst>
          </p:cNvPr>
          <p:cNvSpPr txBox="1">
            <a:spLocks/>
          </p:cNvSpPr>
          <p:nvPr/>
        </p:nvSpPr>
        <p:spPr>
          <a:xfrm>
            <a:off x="1139784" y="1686599"/>
            <a:ext cx="2834233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2000" b="1" dirty="0">
                <a:solidFill>
                  <a:schemeClr val="tx1"/>
                </a:solidFill>
                <a:latin typeface="+mj-lt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54" name="Shape1_20180321_204814">
            <a:extLst>
              <a:ext uri="{FF2B5EF4-FFF2-40B4-BE49-F238E27FC236}">
                <a16:creationId xmlns:a16="http://schemas.microsoft.com/office/drawing/2014/main" id="{6517A0EC-3A3A-2404-BBDE-9554F7998322}"/>
              </a:ext>
            </a:extLst>
          </p:cNvPr>
          <p:cNvSpPr txBox="1">
            <a:spLocks/>
          </p:cNvSpPr>
          <p:nvPr/>
        </p:nvSpPr>
        <p:spPr>
          <a:xfrm>
            <a:off x="4687418" y="5178544"/>
            <a:ext cx="2834233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2000" b="1" dirty="0">
                <a:solidFill>
                  <a:schemeClr val="tx1"/>
                </a:solidFill>
                <a:latin typeface="+mj-lt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323559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5</TotalTime>
  <Words>62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Open Sans ExtraBold</vt:lpstr>
      <vt:lpstr>Wingdings</vt:lpstr>
      <vt:lpstr>Office Theme</vt:lpstr>
      <vt:lpstr>think-cell Slide</vt:lpstr>
      <vt:lpstr>3 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5</cp:revision>
  <dcterms:created xsi:type="dcterms:W3CDTF">2021-03-31T02:49:57Z</dcterms:created>
  <dcterms:modified xsi:type="dcterms:W3CDTF">2025-10-15T08:29:03Z</dcterms:modified>
  <cp:category/>
</cp:coreProperties>
</file>